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72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70" d="100"/>
          <a:sy n="70" d="100"/>
        </p:scale>
        <p:origin x="54" y="-2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1BE6D6-312F-4B96-B441-1AA86063C716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94AA8A-C66B-4A48-8ABF-83A30E1F9D4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815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C931AF1-D0F7-4352-9021-43189A941ED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7426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719668" y="4932578"/>
            <a:ext cx="10748433" cy="3585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719668" y="5686397"/>
            <a:ext cx="10748433" cy="252441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05588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E23966A0-F81C-40C0-99DF-A4625A134AFA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888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43280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3115583A-0F37-4182-B619-37EC7A08F24E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08448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5D4035E-BF6B-40D7-9C20-BABBD3D35F6B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3249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790024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81194120-A9CE-47AE-8622-1F435C43547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149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88379B2-F045-4F2D-8FEF-167DD48C103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06071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1059078"/>
            <a:ext cx="10972800" cy="3585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CE4E286-7EBF-4F15-83FD-1C97EA903CB3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4540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1143DD8-7FCC-4483-99BD-2DC32F8E64E1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5344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BA237F84-C0C0-4AE9-B0AE-246B4168AD8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4171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703425"/>
            <a:ext cx="4011084" cy="7316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98419F3-E388-41A9-83D7-70107441C33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8905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5020384"/>
            <a:ext cx="7315200" cy="346954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ED290264-7702-48F1-B632-FCCAC19276F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2103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719667" y="542071"/>
            <a:ext cx="10714640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719668" y="1196753"/>
            <a:ext cx="10748433" cy="47944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 durck Klicken hinzufügen</a:t>
            </a:r>
          </a:p>
          <a:p>
            <a:pPr lvl="1"/>
            <a:r>
              <a:rPr lang="de-DE"/>
              <a:t>Xxx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5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Sustainable energy supply in on- and off-grid systems | Fabian Schmid | Energy system modeling with oemof</a:t>
            </a:r>
            <a:endParaRPr lang="de-DE" dirty="0"/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6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54E2E615-EA2E-49A1-BDF7-CE0351D4AD3A}" type="slidenum">
              <a:rPr lang="de-DE"/>
              <a:pPr/>
              <a:t>‹Nr.›</a:t>
            </a:fld>
            <a:endParaRPr lang="de-DE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7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8" imgW="0" imgH="0" progId="TCLayout.ActiveDocument.1">
                  <p:embed/>
                </p:oleObj>
              </mc:Choice>
              <mc:Fallback>
                <p:oleObj r:id="rId18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4" descr="evur ohne text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5825" y="6237312"/>
            <a:ext cx="15240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124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2E2DFFCA-989E-4FFB-A28B-3F0982E158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5017" y="1029936"/>
            <a:ext cx="761443" cy="76144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862EE14-775D-4B85-9C23-9CC4926DAFA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418" y="1005560"/>
            <a:ext cx="785818" cy="78581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C3A0BE1-E20F-444D-AEF7-41A99AB8D0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1823" y="1005560"/>
            <a:ext cx="785818" cy="785818"/>
          </a:xfrm>
          <a:prstGeom prst="rect">
            <a:avLst/>
          </a:prstGeom>
        </p:spPr>
      </p:pic>
      <p:pic>
        <p:nvPicPr>
          <p:cNvPr id="13" name="Grafik 1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129F0F4C-614F-45AF-A988-612DB991AD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40" y="4795330"/>
            <a:ext cx="785818" cy="766768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22F2710B-14AA-4EF8-B4C7-F368FE0FAC3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0586" y="3830486"/>
            <a:ext cx="785820" cy="785820"/>
          </a:xfrm>
          <a:prstGeom prst="rect">
            <a:avLst/>
          </a:prstGeom>
        </p:spPr>
      </p:pic>
      <p:pic>
        <p:nvPicPr>
          <p:cNvPr id="21" name="Grafik 20" descr="Ein Bild, das Text enthält.&#10;&#10;Automatisch generierte Beschreibung">
            <a:extLst>
              <a:ext uri="{FF2B5EF4-FFF2-40B4-BE49-F238E27FC236}">
                <a16:creationId xmlns:a16="http://schemas.microsoft.com/office/drawing/2014/main" id="{20574A0A-EF70-44C7-B898-2305E293E26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1831" y="3832776"/>
            <a:ext cx="785819" cy="78581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36CA7FF5-A80D-44F2-9CED-389684C1B2A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63" r="21649"/>
          <a:stretch/>
        </p:blipFill>
        <p:spPr>
          <a:xfrm>
            <a:off x="9070155" y="945352"/>
            <a:ext cx="957761" cy="937139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97EBEA49-510B-45C0-900F-61C68901D28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63" r="24115"/>
          <a:stretch/>
        </p:blipFill>
        <p:spPr>
          <a:xfrm>
            <a:off x="1556549" y="2927899"/>
            <a:ext cx="811191" cy="829304"/>
          </a:xfrm>
          <a:prstGeom prst="rect">
            <a:avLst/>
          </a:prstGeom>
        </p:spPr>
      </p:pic>
      <p:pic>
        <p:nvPicPr>
          <p:cNvPr id="29" name="Grafik 28" descr="Ein Bild, das Text enthält.&#10;&#10;Automatisch generierte Beschreibung">
            <a:extLst>
              <a:ext uri="{FF2B5EF4-FFF2-40B4-BE49-F238E27FC236}">
                <a16:creationId xmlns:a16="http://schemas.microsoft.com/office/drawing/2014/main" id="{B2028B1C-A694-444F-93A5-72F379A351D9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5" r="24116"/>
          <a:stretch/>
        </p:blipFill>
        <p:spPr>
          <a:xfrm>
            <a:off x="2639452" y="4804106"/>
            <a:ext cx="893322" cy="900383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3522ED9A-3491-4251-81A9-8B36624257C5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63" r="23413"/>
          <a:stretch/>
        </p:blipFill>
        <p:spPr>
          <a:xfrm>
            <a:off x="5293473" y="3531070"/>
            <a:ext cx="933823" cy="942622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DCDD4035-5849-4735-ADC4-293923DC0C7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5" r="23413"/>
          <a:stretch/>
        </p:blipFill>
        <p:spPr>
          <a:xfrm>
            <a:off x="3120923" y="950332"/>
            <a:ext cx="918066" cy="913803"/>
          </a:xfrm>
          <a:prstGeom prst="rect">
            <a:avLst/>
          </a:prstGeom>
        </p:spPr>
      </p:pic>
      <p:pic>
        <p:nvPicPr>
          <p:cNvPr id="35" name="Grafik 34" descr="Ein Bild, das Text, Whiteboard enthält.&#10;&#10;Automatisch generierte Beschreibung">
            <a:extLst>
              <a:ext uri="{FF2B5EF4-FFF2-40B4-BE49-F238E27FC236}">
                <a16:creationId xmlns:a16="http://schemas.microsoft.com/office/drawing/2014/main" id="{99C14FF1-8E1A-420D-AD8A-2449D5D16749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50" r="23413"/>
          <a:stretch/>
        </p:blipFill>
        <p:spPr>
          <a:xfrm>
            <a:off x="3152925" y="2174160"/>
            <a:ext cx="854065" cy="87447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DB702BB9-6BEA-4C16-B799-354CC73FA41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50" r="22438"/>
          <a:stretch/>
        </p:blipFill>
        <p:spPr>
          <a:xfrm>
            <a:off x="9349983" y="3791039"/>
            <a:ext cx="785819" cy="89872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0A2727CC-919D-4487-87C3-52747DC044EE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63" r="23413"/>
          <a:stretch/>
        </p:blipFill>
        <p:spPr>
          <a:xfrm>
            <a:off x="3758168" y="4754125"/>
            <a:ext cx="905273" cy="913803"/>
          </a:xfrm>
          <a:prstGeom prst="rect">
            <a:avLst/>
          </a:prstGeom>
        </p:spPr>
      </p:pic>
      <p:sp>
        <p:nvSpPr>
          <p:cNvPr id="40" name="Rechteck: abgerundete Ecken 39">
            <a:extLst>
              <a:ext uri="{FF2B5EF4-FFF2-40B4-BE49-F238E27FC236}">
                <a16:creationId xmlns:a16="http://schemas.microsoft.com/office/drawing/2014/main" id="{08C83530-276F-46B1-9B76-6DE86CA74B9B}"/>
              </a:ext>
            </a:extLst>
          </p:cNvPr>
          <p:cNvSpPr/>
          <p:nvPr/>
        </p:nvSpPr>
        <p:spPr bwMode="auto">
          <a:xfrm>
            <a:off x="7336489" y="3173463"/>
            <a:ext cx="1666568" cy="287867"/>
          </a:xfrm>
          <a:prstGeom prst="roundRect">
            <a:avLst/>
          </a:prstGeom>
          <a:solidFill>
            <a:srgbClr val="00B0F0"/>
          </a:solidFill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" pitchFamily="34" charset="0"/>
              </a:rPr>
              <a:t>Electricity Bus</a:t>
            </a:r>
          </a:p>
        </p:txBody>
      </p:sp>
      <p:sp>
        <p:nvSpPr>
          <p:cNvPr id="41" name="Rechteck: abgerundete Ecken 40">
            <a:extLst>
              <a:ext uri="{FF2B5EF4-FFF2-40B4-BE49-F238E27FC236}">
                <a16:creationId xmlns:a16="http://schemas.microsoft.com/office/drawing/2014/main" id="{292EC162-2C82-4938-BE33-F621B3CC32FE}"/>
              </a:ext>
            </a:extLst>
          </p:cNvPr>
          <p:cNvSpPr/>
          <p:nvPr/>
        </p:nvSpPr>
        <p:spPr bwMode="auto">
          <a:xfrm>
            <a:off x="2743542" y="3181470"/>
            <a:ext cx="1666568" cy="287867"/>
          </a:xfrm>
          <a:prstGeom prst="roundRect">
            <a:avLst/>
          </a:prstGeom>
          <a:solidFill>
            <a:srgbClr val="00B0F0"/>
          </a:solidFill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" pitchFamily="34" charset="0"/>
              </a:rPr>
              <a:t>Heat Bus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951A68B-8A97-4B1F-B586-AF05DD963183}"/>
              </a:ext>
            </a:extLst>
          </p:cNvPr>
          <p:cNvCxnSpPr>
            <a:endCxn id="97" idx="0"/>
          </p:cNvCxnSpPr>
          <p:nvPr/>
        </p:nvCxnSpPr>
        <p:spPr bwMode="auto">
          <a:xfrm>
            <a:off x="3599358" y="1802821"/>
            <a:ext cx="2731" cy="203707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FB5A5E6D-12B3-40B4-AADE-FABD1FF12B4D}"/>
              </a:ext>
            </a:extLst>
          </p:cNvPr>
          <p:cNvCxnSpPr/>
          <p:nvPr/>
        </p:nvCxnSpPr>
        <p:spPr bwMode="auto">
          <a:xfrm>
            <a:off x="3157552" y="3484577"/>
            <a:ext cx="0" cy="989166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B990AC4A-8447-4C6C-8657-C43A084E5AAF}"/>
              </a:ext>
            </a:extLst>
          </p:cNvPr>
          <p:cNvCxnSpPr/>
          <p:nvPr/>
        </p:nvCxnSpPr>
        <p:spPr bwMode="auto">
          <a:xfrm>
            <a:off x="4151978" y="3476523"/>
            <a:ext cx="0" cy="997220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B8E8F305-0681-4358-80DF-0F0F8B4E1F04}"/>
              </a:ext>
            </a:extLst>
          </p:cNvPr>
          <p:cNvCxnSpPr>
            <a:stCxn id="27" idx="3"/>
            <a:endCxn id="41" idx="1"/>
          </p:cNvCxnSpPr>
          <p:nvPr/>
        </p:nvCxnSpPr>
        <p:spPr bwMode="auto">
          <a:xfrm flipV="1">
            <a:off x="2367740" y="3325403"/>
            <a:ext cx="375803" cy="17148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78715A3-2174-4E31-BC9B-09ABB5931EF7}"/>
              </a:ext>
            </a:extLst>
          </p:cNvPr>
          <p:cNvCxnSpPr>
            <a:stCxn id="21" idx="0"/>
          </p:cNvCxnSpPr>
          <p:nvPr/>
        </p:nvCxnSpPr>
        <p:spPr bwMode="auto">
          <a:xfrm flipV="1">
            <a:off x="7034740" y="3504803"/>
            <a:ext cx="329564" cy="327973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AF576125-90B8-4011-A809-4E9E7199DF65}"/>
              </a:ext>
            </a:extLst>
          </p:cNvPr>
          <p:cNvCxnSpPr>
            <a:endCxn id="37" idx="0"/>
          </p:cNvCxnSpPr>
          <p:nvPr/>
        </p:nvCxnSpPr>
        <p:spPr bwMode="auto">
          <a:xfrm>
            <a:off x="9105756" y="3484577"/>
            <a:ext cx="637137" cy="306462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6E40BF01-A919-4540-A989-4529954495D2}"/>
              </a:ext>
            </a:extLst>
          </p:cNvPr>
          <p:cNvCxnSpPr>
            <a:cxnSpLocks/>
          </p:cNvCxnSpPr>
          <p:nvPr/>
        </p:nvCxnSpPr>
        <p:spPr bwMode="auto">
          <a:xfrm flipH="1">
            <a:off x="8053496" y="3504802"/>
            <a:ext cx="9356" cy="325684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BF9078A3-2F03-4617-997C-D660FCBD6D1A}"/>
              </a:ext>
            </a:extLst>
          </p:cNvPr>
          <p:cNvCxnSpPr>
            <a:stCxn id="31" idx="1"/>
            <a:endCxn id="41" idx="3"/>
          </p:cNvCxnSpPr>
          <p:nvPr/>
        </p:nvCxnSpPr>
        <p:spPr bwMode="auto">
          <a:xfrm flipH="1" flipV="1">
            <a:off x="4410110" y="3325404"/>
            <a:ext cx="883363" cy="676977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35AF0FA4-0334-4E19-B08D-FEDFAF407237}"/>
              </a:ext>
            </a:extLst>
          </p:cNvPr>
          <p:cNvCxnSpPr>
            <a:cxnSpLocks/>
            <a:stCxn id="40" idx="1"/>
            <a:endCxn id="31" idx="3"/>
          </p:cNvCxnSpPr>
          <p:nvPr/>
        </p:nvCxnSpPr>
        <p:spPr bwMode="auto">
          <a:xfrm flipH="1">
            <a:off x="6227296" y="3317397"/>
            <a:ext cx="1109193" cy="684984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430AC07E-EE71-4D34-A418-358646E1FF03}"/>
              </a:ext>
            </a:extLst>
          </p:cNvPr>
          <p:cNvCxnSpPr>
            <a:stCxn id="7" idx="2"/>
          </p:cNvCxnSpPr>
          <p:nvPr/>
        </p:nvCxnSpPr>
        <p:spPr bwMode="auto">
          <a:xfrm>
            <a:off x="6615739" y="1791379"/>
            <a:ext cx="777429" cy="1291191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37620E56-D107-40C5-80F5-50F3B1F7C8E5}"/>
              </a:ext>
            </a:extLst>
          </p:cNvPr>
          <p:cNvCxnSpPr>
            <a:cxnSpLocks/>
            <a:stCxn id="11" idx="2"/>
          </p:cNvCxnSpPr>
          <p:nvPr/>
        </p:nvCxnSpPr>
        <p:spPr bwMode="auto">
          <a:xfrm>
            <a:off x="7574733" y="1791379"/>
            <a:ext cx="21117" cy="1235799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82752655-81BD-42B4-AE3E-77721AA37DA9}"/>
              </a:ext>
            </a:extLst>
          </p:cNvPr>
          <p:cNvCxnSpPr>
            <a:cxnSpLocks/>
            <a:stCxn id="9" idx="2"/>
          </p:cNvCxnSpPr>
          <p:nvPr/>
        </p:nvCxnSpPr>
        <p:spPr bwMode="auto">
          <a:xfrm flipH="1">
            <a:off x="8488083" y="1791379"/>
            <a:ext cx="17245" cy="1235799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F0E5C417-CFE6-4C0E-9A32-DF0A779826CB}"/>
              </a:ext>
            </a:extLst>
          </p:cNvPr>
          <p:cNvCxnSpPr>
            <a:cxnSpLocks/>
          </p:cNvCxnSpPr>
          <p:nvPr/>
        </p:nvCxnSpPr>
        <p:spPr bwMode="auto">
          <a:xfrm flipH="1">
            <a:off x="8884791" y="1809448"/>
            <a:ext cx="685744" cy="1274097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6" name="Textfeld 95">
            <a:extLst>
              <a:ext uri="{FF2B5EF4-FFF2-40B4-BE49-F238E27FC236}">
                <a16:creationId xmlns:a16="http://schemas.microsoft.com/office/drawing/2014/main" id="{6B3D46E6-8CC7-492D-A088-F5F060E926B7}"/>
              </a:ext>
            </a:extLst>
          </p:cNvPr>
          <p:cNvSpPr txBox="1"/>
          <p:nvPr/>
        </p:nvSpPr>
        <p:spPr>
          <a:xfrm>
            <a:off x="3108303" y="729328"/>
            <a:ext cx="8983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Biomass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330A9E70-FE35-4599-8EB9-64E3638A72D8}"/>
              </a:ext>
            </a:extLst>
          </p:cNvPr>
          <p:cNvSpPr txBox="1"/>
          <p:nvPr/>
        </p:nvSpPr>
        <p:spPr>
          <a:xfrm>
            <a:off x="3152925" y="2006528"/>
            <a:ext cx="8983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CHP</a:t>
            </a:r>
          </a:p>
        </p:txBody>
      </p:sp>
      <p:cxnSp>
        <p:nvCxnSpPr>
          <p:cNvPr id="104" name="Gerade Verbindung mit Pfeil 103">
            <a:extLst>
              <a:ext uri="{FF2B5EF4-FFF2-40B4-BE49-F238E27FC236}">
                <a16:creationId xmlns:a16="http://schemas.microsoft.com/office/drawing/2014/main" id="{5A819515-931E-42C4-8135-CF6D39052CF8}"/>
              </a:ext>
            </a:extLst>
          </p:cNvPr>
          <p:cNvCxnSpPr/>
          <p:nvPr/>
        </p:nvCxnSpPr>
        <p:spPr bwMode="auto">
          <a:xfrm>
            <a:off x="3588124" y="2958733"/>
            <a:ext cx="2731" cy="203707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9651CBB9-FFD8-49E0-96E5-1B1FBD49344D}"/>
              </a:ext>
            </a:extLst>
          </p:cNvPr>
          <p:cNvSpPr txBox="1"/>
          <p:nvPr/>
        </p:nvSpPr>
        <p:spPr>
          <a:xfrm>
            <a:off x="1435748" y="2556022"/>
            <a:ext cx="10969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Thermal Storage</a:t>
            </a: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3C0965CD-B489-4C1D-8DF8-53777D057509}"/>
              </a:ext>
            </a:extLst>
          </p:cNvPr>
          <p:cNvSpPr txBox="1"/>
          <p:nvPr/>
        </p:nvSpPr>
        <p:spPr>
          <a:xfrm>
            <a:off x="5229921" y="3307822"/>
            <a:ext cx="1096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Heat Pump</a:t>
            </a: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2B72D210-5A99-4F5E-ADFC-5865706788F2}"/>
              </a:ext>
            </a:extLst>
          </p:cNvPr>
          <p:cNvSpPr txBox="1"/>
          <p:nvPr/>
        </p:nvSpPr>
        <p:spPr>
          <a:xfrm>
            <a:off x="6038374" y="736268"/>
            <a:ext cx="1096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PV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C4D9920E-B1BC-403A-A76C-97BC478200E5}"/>
              </a:ext>
            </a:extLst>
          </p:cNvPr>
          <p:cNvSpPr txBox="1"/>
          <p:nvPr/>
        </p:nvSpPr>
        <p:spPr>
          <a:xfrm>
            <a:off x="6899599" y="723128"/>
            <a:ext cx="1291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Wind onshore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2BE50C2D-92DD-4A3B-A0FE-1ADEFB58F4C2}"/>
              </a:ext>
            </a:extLst>
          </p:cNvPr>
          <p:cNvSpPr txBox="1"/>
          <p:nvPr/>
        </p:nvSpPr>
        <p:spPr>
          <a:xfrm>
            <a:off x="7887178" y="727291"/>
            <a:ext cx="1291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Wind offshore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7F08C001-FBC6-4FA2-8F96-286212D2D618}"/>
              </a:ext>
            </a:extLst>
          </p:cNvPr>
          <p:cNvSpPr txBox="1"/>
          <p:nvPr/>
        </p:nvSpPr>
        <p:spPr>
          <a:xfrm>
            <a:off x="8883852" y="730321"/>
            <a:ext cx="1291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Hydro RoR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A617F730-2BBE-482F-A250-945368736D94}"/>
              </a:ext>
            </a:extLst>
          </p:cNvPr>
          <p:cNvSpPr txBox="1"/>
          <p:nvPr/>
        </p:nvSpPr>
        <p:spPr>
          <a:xfrm>
            <a:off x="2251051" y="4582287"/>
            <a:ext cx="15295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Hot water demand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2DA10D8A-9FD5-4BF4-8E90-940FBC753286}"/>
              </a:ext>
            </a:extLst>
          </p:cNvPr>
          <p:cNvSpPr txBox="1"/>
          <p:nvPr/>
        </p:nvSpPr>
        <p:spPr>
          <a:xfrm>
            <a:off x="3599357" y="4582991"/>
            <a:ext cx="1291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Heat demand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ADF6EE3A-96E7-4C79-89F5-718FC846DD4D}"/>
              </a:ext>
            </a:extLst>
          </p:cNvPr>
          <p:cNvSpPr txBox="1"/>
          <p:nvPr/>
        </p:nvSpPr>
        <p:spPr>
          <a:xfrm>
            <a:off x="7976666" y="5482052"/>
            <a:ext cx="1519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Electricity demand</a:t>
            </a:r>
          </a:p>
        </p:txBody>
      </p:sp>
      <p:sp>
        <p:nvSpPr>
          <p:cNvPr id="123" name="Textfeld 122">
            <a:extLst>
              <a:ext uri="{FF2B5EF4-FFF2-40B4-BE49-F238E27FC236}">
                <a16:creationId xmlns:a16="http://schemas.microsoft.com/office/drawing/2014/main" id="{963F4841-A904-423D-82E0-BBA617063B2D}"/>
              </a:ext>
            </a:extLst>
          </p:cNvPr>
          <p:cNvSpPr txBox="1"/>
          <p:nvPr/>
        </p:nvSpPr>
        <p:spPr>
          <a:xfrm>
            <a:off x="7296009" y="4584605"/>
            <a:ext cx="1519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Hydrogen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FE824ACD-34DF-4A3C-9CA9-E2D46A8E8616}"/>
              </a:ext>
            </a:extLst>
          </p:cNvPr>
          <p:cNvSpPr txBox="1"/>
          <p:nvPr/>
        </p:nvSpPr>
        <p:spPr>
          <a:xfrm>
            <a:off x="6316932" y="4582317"/>
            <a:ext cx="1519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Battery</a:t>
            </a:r>
          </a:p>
        </p:txBody>
      </p:sp>
      <p:sp>
        <p:nvSpPr>
          <p:cNvPr id="126" name="Textfeld 125">
            <a:extLst>
              <a:ext uri="{FF2B5EF4-FFF2-40B4-BE49-F238E27FC236}">
                <a16:creationId xmlns:a16="http://schemas.microsoft.com/office/drawing/2014/main" id="{5FFAA083-A894-42FF-A373-5620BE77B2AE}"/>
              </a:ext>
            </a:extLst>
          </p:cNvPr>
          <p:cNvSpPr txBox="1"/>
          <p:nvPr/>
        </p:nvSpPr>
        <p:spPr>
          <a:xfrm>
            <a:off x="9012765" y="4578260"/>
            <a:ext cx="1519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ACAES</a:t>
            </a:r>
          </a:p>
        </p:txBody>
      </p: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A0A25C40-FEE0-473E-BB60-7AB8E405426B}"/>
              </a:ext>
            </a:extLst>
          </p:cNvPr>
          <p:cNvCxnSpPr>
            <a:cxnSpLocks/>
            <a:endCxn id="13" idx="0"/>
          </p:cNvCxnSpPr>
          <p:nvPr/>
        </p:nvCxnSpPr>
        <p:spPr bwMode="auto">
          <a:xfrm>
            <a:off x="8784827" y="3521808"/>
            <a:ext cx="5922" cy="1273523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70C1FE5A-EBAA-4B62-839B-A51DD00E4989}"/>
              </a:ext>
            </a:extLst>
          </p:cNvPr>
          <p:cNvSpPr txBox="1"/>
          <p:nvPr/>
        </p:nvSpPr>
        <p:spPr>
          <a:xfrm>
            <a:off x="9266096" y="2442407"/>
            <a:ext cx="1291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Electricity grid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171366DE-5396-40D9-919D-B49964B0968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2263" y="2697358"/>
            <a:ext cx="803003" cy="803003"/>
          </a:xfrm>
          <a:prstGeom prst="rect">
            <a:avLst/>
          </a:prstGeom>
        </p:spPr>
      </p:pic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E6F806CE-86EE-4CFE-9F64-B6A313FA3FEC}"/>
              </a:ext>
            </a:extLst>
          </p:cNvPr>
          <p:cNvCxnSpPr>
            <a:cxnSpLocks/>
            <a:stCxn id="40" idx="3"/>
            <a:endCxn id="55" idx="1"/>
          </p:cNvCxnSpPr>
          <p:nvPr/>
        </p:nvCxnSpPr>
        <p:spPr bwMode="auto">
          <a:xfrm flipV="1">
            <a:off x="9003058" y="3098860"/>
            <a:ext cx="529205" cy="218537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9" name="Grafik 58">
            <a:extLst>
              <a:ext uri="{FF2B5EF4-FFF2-40B4-BE49-F238E27FC236}">
                <a16:creationId xmlns:a16="http://schemas.microsoft.com/office/drawing/2014/main" id="{0C7C3330-E922-4282-B939-327A72BCED0C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63" r="23413"/>
          <a:stretch/>
        </p:blipFill>
        <p:spPr>
          <a:xfrm>
            <a:off x="1494709" y="4080808"/>
            <a:ext cx="905273" cy="913803"/>
          </a:xfrm>
          <a:prstGeom prst="rect">
            <a:avLst/>
          </a:prstGeom>
        </p:spPr>
      </p:pic>
      <p:sp>
        <p:nvSpPr>
          <p:cNvPr id="61" name="Textfeld 60">
            <a:extLst>
              <a:ext uri="{FF2B5EF4-FFF2-40B4-BE49-F238E27FC236}">
                <a16:creationId xmlns:a16="http://schemas.microsoft.com/office/drawing/2014/main" id="{9A60D98B-4927-469C-B7BC-33CEA96156B1}"/>
              </a:ext>
            </a:extLst>
          </p:cNvPr>
          <p:cNvSpPr txBox="1"/>
          <p:nvPr/>
        </p:nvSpPr>
        <p:spPr>
          <a:xfrm>
            <a:off x="1312287" y="3887313"/>
            <a:ext cx="1291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Heat grid</a:t>
            </a: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35FBD4D7-3EBE-452B-979D-D0EEDAA28B25}"/>
              </a:ext>
            </a:extLst>
          </p:cNvPr>
          <p:cNvCxnSpPr/>
          <p:nvPr/>
        </p:nvCxnSpPr>
        <p:spPr bwMode="auto">
          <a:xfrm flipH="1">
            <a:off x="2367739" y="3476523"/>
            <a:ext cx="363616" cy="687788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8A018DBB-A564-F20B-D5AE-2D217CB43A16}"/>
              </a:ext>
            </a:extLst>
          </p:cNvPr>
          <p:cNvCxnSpPr>
            <a:stCxn id="35" idx="3"/>
            <a:endCxn id="40" idx="1"/>
          </p:cNvCxnSpPr>
          <p:nvPr/>
        </p:nvCxnSpPr>
        <p:spPr bwMode="auto">
          <a:xfrm>
            <a:off x="4006990" y="2611395"/>
            <a:ext cx="3329499" cy="706002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382152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heme/theme1.xml><?xml version="1.0" encoding="utf-8"?>
<a:theme xmlns:a="http://schemas.openxmlformats.org/drawingml/2006/main" name="TU_PPT_Master_mitBild_V02_Aussicht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</Words>
  <Application>Microsoft Office PowerPoint</Application>
  <PresentationFormat>Breitbild</PresentationFormat>
  <Paragraphs>19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TU_PPT_Master_mitBild_V02_Aussicht</vt:lpstr>
      <vt:lpstr>TCLayout.ActiveDocument.1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abian Schmid</dc:creator>
  <cp:lastModifiedBy>Fabian Schmid</cp:lastModifiedBy>
  <cp:revision>4</cp:revision>
  <dcterms:created xsi:type="dcterms:W3CDTF">2022-02-04T10:09:24Z</dcterms:created>
  <dcterms:modified xsi:type="dcterms:W3CDTF">2022-05-31T11:22:44Z</dcterms:modified>
</cp:coreProperties>
</file>